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63"/>
  </p:normalViewPr>
  <p:slideViewPr>
    <p:cSldViewPr snapToGrid="0" snapToObjects="1" showGuides="1">
      <p:cViewPr varScale="1">
        <p:scale>
          <a:sx n="90" d="100"/>
          <a:sy n="90" d="100"/>
        </p:scale>
        <p:origin x="232" y="7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51D2BE-F4BB-FC4F-814C-F10438DA01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2FAFFB4-17FE-0442-A770-8AA81B41E6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C48632-9559-4F47-A3A5-5A1A497EDC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183B955-4187-F74C-961C-2426C8E49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7CD511-968E-C24F-8921-4867B98AE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89013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74B919-E9E1-AE47-8858-850750D26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540B5BD-8193-734F-A1DF-0B31998305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9F5CA7-CB00-1147-A79F-19A951381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A71A78-6568-B648-9930-D5BB27C1F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A14C46-39E2-AA4E-B24F-90CC2E1E3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5619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5CDD469-2C7B-EE44-97FD-059E079381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B543CA1-46DA-1E47-A9C3-ADCF065832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63C82DA-7CBA-7446-8704-36781AA63F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932747-815F-6F4D-BFF0-8E8237B8D8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A96BB89-8CC9-1847-BEED-44AF17DEB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4935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EFBD05-839B-554E-A649-5D831308D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D1F7708-CA5A-D041-9C3B-E468F81780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FCDC092-D602-9947-8669-D780BD6C99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79C4B2-7F89-A84D-9E2C-95F66C9FD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57DDD-B002-FB46-8198-5796A204A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2339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D56C0F-1EA5-A844-93F0-EFF226E9E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CBEDC2-2372-DC4F-B866-C8D18414B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B51A0B-47E4-1843-B0B0-8745C97FF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9B4D5A-FF2C-3A48-8860-BC1111B85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3568BB-1C19-144A-862A-B6DC558E0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37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47DDD7-18C8-B94A-BD83-D30A30986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35C537-455E-9F47-A993-766A4D1558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4D5EA4C-4EFE-3F4A-A88A-A8605ADD78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F1F1CA-8EB0-D747-84AF-50E162DA7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9AE8224-CFB7-9448-8368-44B0A0A56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0E2E1D1-BBA5-2541-B454-80D168D7D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291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2C408A-2B64-D242-AD40-9A67D2A8C4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059C68-E868-3244-AAA2-979456E304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2DB2B9C-CC7D-B742-8A72-0D9D20DC7C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6D6CBE-DA25-5840-BD2E-0E748F404E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AF67D58-2FD5-4041-90D7-FFB09DBB52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6953664-668B-3349-A9EE-9EAC4F27A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61B8BD-07B0-8047-B473-663A058AF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C60791-71FF-D04C-B95B-8EDFE78BA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72281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F674DE-9878-384B-AB88-222A99158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239734B-C1F1-6240-AF76-17A57C204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32D6FD-2624-994E-9127-494C47EAF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DD4E96-907E-D144-9873-2C5935F8FF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2322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1CC2BCC-68F3-5145-9121-B5BD03A74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D555B6-D74B-BF42-9E61-8E6A1AD33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CD4AB-6514-4140-9787-3387C6A17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9318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06A456-AF22-7547-8757-103B0564C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EADB0D-437B-D545-814D-451AC7B16F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B1A3296-D151-C940-B181-696DF55E74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AFE470A-8A43-C44A-AD03-50748E35F9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80370A6-8165-7E49-8A1B-E9B0FC4C9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D67EC7D-39FD-8641-8D2E-E7E29A8CD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7367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7332A5-A96D-5549-A3B4-CA5E1C9EC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7DC7570-98E1-D34A-8F78-69694A2C06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A6E29F9-1B89-EF47-9B9A-40FB24DC53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6366DEA-EB31-9E40-8772-08161CFCD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F3DC93E-CB0A-A44D-A705-72A1081F3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26A400E-5074-044C-B7BE-77773C0B6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3318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E3A7D3-BA6D-F546-9EED-71630A2899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D5A7D92-7ADA-264B-8EEE-04346ACA98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4659C2-4BB7-0D4C-99B4-B9DF523C8D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E8BE88-C45B-424C-9BE2-A08444A2765A}" type="datetimeFigureOut">
              <a:rPr lang="en-GB" smtClean="0"/>
              <a:t>23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9CBE345-FE50-A74F-89C9-DFDBFBE6B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46917D-8900-5042-B772-8D0321D4ED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6161DF-8EBB-244C-A254-3704D6863BF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0503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tif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10" Type="http://schemas.openxmlformats.org/officeDocument/2006/relationships/image" Target="../media/image6.tif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78AAD1F-6839-D940-A107-568BC5DC49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816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63CEE0A3-480C-6049-BD2C-B489878C251A}"/>
              </a:ext>
            </a:extLst>
          </p:cNvPr>
          <p:cNvSpPr/>
          <p:nvPr/>
        </p:nvSpPr>
        <p:spPr>
          <a:xfrm>
            <a:off x="1128713" y="89802"/>
            <a:ext cx="3312658" cy="8055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blem Definitio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FCF4041-6859-D04B-BF31-9025B1CE625D}"/>
              </a:ext>
            </a:extLst>
          </p:cNvPr>
          <p:cNvSpPr/>
          <p:nvPr/>
        </p:nvSpPr>
        <p:spPr>
          <a:xfrm>
            <a:off x="1128713" y="1530799"/>
            <a:ext cx="3312658" cy="8055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formation Gathering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302664E-6430-BE45-9E47-A692B1058806}"/>
              </a:ext>
            </a:extLst>
          </p:cNvPr>
          <p:cNvSpPr/>
          <p:nvPr/>
        </p:nvSpPr>
        <p:spPr>
          <a:xfrm>
            <a:off x="1128713" y="2971796"/>
            <a:ext cx="3312658" cy="8055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Explanatory Analysi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563538-1548-A54A-A28F-97CE25AAB984}"/>
              </a:ext>
            </a:extLst>
          </p:cNvPr>
          <p:cNvSpPr/>
          <p:nvPr/>
        </p:nvSpPr>
        <p:spPr>
          <a:xfrm>
            <a:off x="1128713" y="4412793"/>
            <a:ext cx="3312658" cy="8055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nfiguring and Estimating Model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E437554-F87E-2A41-B210-B606C1BE881B}"/>
              </a:ext>
            </a:extLst>
          </p:cNvPr>
          <p:cNvSpPr/>
          <p:nvPr/>
        </p:nvSpPr>
        <p:spPr>
          <a:xfrm>
            <a:off x="1128713" y="5853790"/>
            <a:ext cx="3312658" cy="8055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enerating and Evaluating Forecast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19DC3F9-6607-4841-84FA-E621CA89BC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53426" y="3507237"/>
            <a:ext cx="748671" cy="5347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EC8AD45-04FF-8B4F-AD3C-3D86333B62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5091" y="4866591"/>
            <a:ext cx="592558" cy="68784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1CD9E85-D5A9-BD4A-B577-69750DA117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73988" y="2063522"/>
            <a:ext cx="534765" cy="53476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C5D90A5-F4A3-8045-B411-CC649AB66F3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74" t="11327" r="2233" b="9287"/>
          <a:stretch/>
        </p:blipFill>
        <p:spPr>
          <a:xfrm>
            <a:off x="4112113" y="6310306"/>
            <a:ext cx="831296" cy="49054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5788288-C2D4-054B-922C-0E6016FDC37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2267" t="8500" r="32313" b="13762"/>
          <a:stretch/>
        </p:blipFill>
        <p:spPr>
          <a:xfrm>
            <a:off x="4154088" y="553812"/>
            <a:ext cx="747347" cy="61508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70804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</Words>
  <Application>Microsoft Macintosh PowerPoint</Application>
  <PresentationFormat>Breitbild</PresentationFormat>
  <Paragraphs>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Consolas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njamin Buchwitz</dc:creator>
  <cp:lastModifiedBy>Benjamin Buchwitz</cp:lastModifiedBy>
  <cp:revision>2</cp:revision>
  <dcterms:created xsi:type="dcterms:W3CDTF">2019-06-23T18:46:28Z</dcterms:created>
  <dcterms:modified xsi:type="dcterms:W3CDTF">2019-06-23T18:56:27Z</dcterms:modified>
</cp:coreProperties>
</file>